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8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95607606997336E-2"/>
          <c:y val="0.21872791929256089"/>
          <c:w val="0.94260439239300264"/>
          <c:h val="0.667676431543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BD-44D6-9479-A63F162B6A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BD-44D6-9479-A63F162B6A3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4BD-44D6-9479-A63F162B6A3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4BD-44D6-9479-A63F162B6A3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4BD-44D6-9479-A63F162B6A3C}"/>
              </c:ext>
            </c:extLst>
          </c:dPt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4BD-44D6-9479-A63F162B6A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Open Sans Light" panose="020B0306030504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</c:v>
                </c:pt>
                <c:pt idx="1">
                  <c:v>75</c:v>
                </c:pt>
                <c:pt idx="2">
                  <c:v>45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4BD-44D6-9479-A63F162B6A3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-4714512"/>
        <c:axId val="-4722128"/>
      </c:barChart>
      <c:catAx>
        <c:axId val="-471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22128"/>
        <c:crosses val="autoZero"/>
        <c:auto val="1"/>
        <c:lblAlgn val="ctr"/>
        <c:lblOffset val="100"/>
        <c:noMultiLvlLbl val="0"/>
      </c:catAx>
      <c:valAx>
        <c:axId val="-4722128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1451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Open Sans Light" panose="020B0306030504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95607606997336E-2"/>
          <c:y val="0.21872791929256089"/>
          <c:w val="0.94260439239300264"/>
          <c:h val="0.667676431543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23-4B75-8F55-5416FA0103B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23-4B75-8F55-5416FA0103B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A23-4B75-8F55-5416FA0103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A23-4B75-8F55-5416FA0103B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A23-4B75-8F55-5416FA0103B3}"/>
              </c:ext>
            </c:extLst>
          </c:dPt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23-4B75-8F55-5416FA0103B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Open Sans Light" panose="020B0306030504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</c:v>
                </c:pt>
                <c:pt idx="1">
                  <c:v>75</c:v>
                </c:pt>
                <c:pt idx="2">
                  <c:v>45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DE2-4DD3-BEB8-A5DD345C58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-4714512"/>
        <c:axId val="-4722128"/>
      </c:barChart>
      <c:catAx>
        <c:axId val="-471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22128"/>
        <c:crosses val="autoZero"/>
        <c:auto val="1"/>
        <c:lblAlgn val="ctr"/>
        <c:lblOffset val="100"/>
        <c:noMultiLvlLbl val="0"/>
      </c:catAx>
      <c:valAx>
        <c:axId val="-4722128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1451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Open Sans Light" panose="020B0306030504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95607606997336E-2"/>
          <c:y val="0.21872791929256089"/>
          <c:w val="0.94260439239300264"/>
          <c:h val="0.667676431543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FB-4A20-A1B2-EF455CC8B47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FB-4A20-A1B2-EF455CC8B47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FB-4A20-A1B2-EF455CC8B47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FB-4A20-A1B2-EF455CC8B47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FB-4A20-A1B2-EF455CC8B472}"/>
              </c:ext>
            </c:extLst>
          </c:dPt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FB-4A20-A1B2-EF455CC8B4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Open Sans Light" panose="020B0306030504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</c:v>
                </c:pt>
                <c:pt idx="1">
                  <c:v>75</c:v>
                </c:pt>
                <c:pt idx="2">
                  <c:v>45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2FB-4A20-A1B2-EF455CC8B4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-4714512"/>
        <c:axId val="-4722128"/>
      </c:barChart>
      <c:catAx>
        <c:axId val="-471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22128"/>
        <c:crosses val="autoZero"/>
        <c:auto val="1"/>
        <c:lblAlgn val="ctr"/>
        <c:lblOffset val="100"/>
        <c:noMultiLvlLbl val="0"/>
      </c:catAx>
      <c:valAx>
        <c:axId val="-4722128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1451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Open Sans Light" panose="020B0306030504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95607606997336E-2"/>
          <c:y val="0.21872791929256089"/>
          <c:w val="0.94260439239300264"/>
          <c:h val="0.667676431543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4A8-4C82-9C11-41BD37FFF9F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4A8-4C82-9C11-41BD37FFF9F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4A8-4C82-9C11-41BD37FFF9F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4A8-4C82-9C11-41BD37FFF9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4A8-4C82-9C11-41BD37FFF9F3}"/>
              </c:ext>
            </c:extLst>
          </c:dPt>
          <c:dLbls>
            <c:delete val="1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4A8-4C82-9C11-41BD37FFF9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Open Sans Light" panose="020B0306030504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5</c:v>
                </c:pt>
                <c:pt idx="1">
                  <c:v>2024</c:v>
                </c:pt>
                <c:pt idx="2">
                  <c:v>2023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</c:v>
                </c:pt>
                <c:pt idx="1">
                  <c:v>75</c:v>
                </c:pt>
                <c:pt idx="2">
                  <c:v>45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4A8-4C82-9C11-41BD37FFF9F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-4714512"/>
        <c:axId val="-4722128"/>
      </c:barChart>
      <c:catAx>
        <c:axId val="-471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22128"/>
        <c:crosses val="autoZero"/>
        <c:auto val="1"/>
        <c:lblAlgn val="ctr"/>
        <c:lblOffset val="100"/>
        <c:noMultiLvlLbl val="0"/>
      </c:catAx>
      <c:valAx>
        <c:axId val="-4722128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471451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Open Sans Light" panose="020B0306030504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211212-34F3-7AE0-6D3B-B27C2088D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63E27CE-03F8-68DD-23EE-3C2641969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olumn Charts with Description</a:t>
            </a:r>
          </a:p>
        </p:txBody>
      </p:sp>
      <p:graphicFrame>
        <p:nvGraphicFramePr>
          <p:cNvPr id="19" name="Chart Placeholder 23">
            <a:extLst>
              <a:ext uri="{FF2B5EF4-FFF2-40B4-BE49-F238E27FC236}">
                <a16:creationId xmlns:a16="http://schemas.microsoft.com/office/drawing/2014/main" id="{FDD8F26B-EB3B-357B-DBF8-0C692BC11611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5040313" y="2110923"/>
          <a:ext cx="3881437" cy="33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Placeholder 23">
            <a:extLst>
              <a:ext uri="{FF2B5EF4-FFF2-40B4-BE49-F238E27FC236}">
                <a16:creationId xmlns:a16="http://schemas.microsoft.com/office/drawing/2014/main" id="{C9634FD6-1A0C-F0DD-5671-5F9072A3CB0F}"/>
              </a:ext>
            </a:extLst>
          </p:cNvPr>
          <p:cNvGraphicFramePr>
            <a:graphicFrameLocks noGrp="1"/>
          </p:cNvGraphicFramePr>
          <p:nvPr>
            <p:ph type="chart" sz="quarter" idx="15"/>
          </p:nvPr>
        </p:nvGraphicFramePr>
        <p:xfrm>
          <a:off x="714375" y="2110923"/>
          <a:ext cx="3879850" cy="33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Placeholder 23">
            <a:extLst>
              <a:ext uri="{FF2B5EF4-FFF2-40B4-BE49-F238E27FC236}">
                <a16:creationId xmlns:a16="http://schemas.microsoft.com/office/drawing/2014/main" id="{742E607B-9329-B0E1-8D8D-147530C47F9B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13693775" y="2110923"/>
          <a:ext cx="3879850" cy="33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Placeholder 23">
            <a:extLst>
              <a:ext uri="{FF2B5EF4-FFF2-40B4-BE49-F238E27FC236}">
                <a16:creationId xmlns:a16="http://schemas.microsoft.com/office/drawing/2014/main" id="{D061D769-6951-02F6-A3C5-875490B3D5DB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9366250" y="2110923"/>
          <a:ext cx="3881438" cy="33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513AF790-F164-08C1-B4C5-FB407AAE580E}"/>
              </a:ext>
            </a:extLst>
          </p:cNvPr>
          <p:cNvGrpSpPr/>
          <p:nvPr/>
        </p:nvGrpSpPr>
        <p:grpSpPr>
          <a:xfrm>
            <a:off x="714375" y="5707061"/>
            <a:ext cx="4009072" cy="2941637"/>
            <a:chOff x="971550" y="5869888"/>
            <a:chExt cx="3875841" cy="2551493"/>
          </a:xfrm>
        </p:grpSpPr>
        <p:sp>
          <p:nvSpPr>
            <p:cNvPr id="28" name="Google Shape;629;p29">
              <a:extLst>
                <a:ext uri="{FF2B5EF4-FFF2-40B4-BE49-F238E27FC236}">
                  <a16:creationId xmlns:a16="http://schemas.microsoft.com/office/drawing/2014/main" id="{A3276A15-21E4-7864-E818-F5EA9FB49E4E}"/>
                </a:ext>
              </a:extLst>
            </p:cNvPr>
            <p:cNvSpPr/>
            <p:nvPr/>
          </p:nvSpPr>
          <p:spPr>
            <a:xfrm>
              <a:off x="971550" y="5869888"/>
              <a:ext cx="3875841" cy="2551493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Lorem Ipsum has been the industry's standard dummy text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</a:t>
              </a:r>
              <a:endParaRPr lang="en-IN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Google Shape;629;p29">
              <a:extLst>
                <a:ext uri="{FF2B5EF4-FFF2-40B4-BE49-F238E27FC236}">
                  <a16:creationId xmlns:a16="http://schemas.microsoft.com/office/drawing/2014/main" id="{63B0DDDC-C1DC-8752-57C9-5E190E2C9AC5}"/>
                </a:ext>
              </a:extLst>
            </p:cNvPr>
            <p:cNvSpPr/>
            <p:nvPr/>
          </p:nvSpPr>
          <p:spPr>
            <a:xfrm>
              <a:off x="971550" y="5869888"/>
              <a:ext cx="3875841" cy="54000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 defTabSz="1371600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Char char="•"/>
                <a:defRPr/>
              </a:pPr>
              <a:endParaRPr lang="en-IN" b="1" dirty="0"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3E708B8-7198-2EB2-3B58-90531766FA7F}"/>
              </a:ext>
            </a:extLst>
          </p:cNvPr>
          <p:cNvGrpSpPr/>
          <p:nvPr/>
        </p:nvGrpSpPr>
        <p:grpSpPr>
          <a:xfrm>
            <a:off x="4997767" y="5707061"/>
            <a:ext cx="4009072" cy="2941637"/>
            <a:chOff x="971550" y="5869888"/>
            <a:chExt cx="3875841" cy="2551493"/>
          </a:xfrm>
        </p:grpSpPr>
        <p:sp>
          <p:nvSpPr>
            <p:cNvPr id="26" name="Google Shape;629;p29">
              <a:extLst>
                <a:ext uri="{FF2B5EF4-FFF2-40B4-BE49-F238E27FC236}">
                  <a16:creationId xmlns:a16="http://schemas.microsoft.com/office/drawing/2014/main" id="{07BFB81E-BFF7-1AE2-A7C7-6ACAAB2DE8E1}"/>
                </a:ext>
              </a:extLst>
            </p:cNvPr>
            <p:cNvSpPr/>
            <p:nvPr/>
          </p:nvSpPr>
          <p:spPr>
            <a:xfrm>
              <a:off x="971550" y="5869888"/>
              <a:ext cx="3875841" cy="2551493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Lorem Ipsum has been the industry's standard dummy text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</a:t>
              </a:r>
              <a:endParaRPr lang="en-IN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629;p29">
              <a:extLst>
                <a:ext uri="{FF2B5EF4-FFF2-40B4-BE49-F238E27FC236}">
                  <a16:creationId xmlns:a16="http://schemas.microsoft.com/office/drawing/2014/main" id="{4FB937FF-B4F9-CF5F-1610-9A0B2DF3FD99}"/>
                </a:ext>
              </a:extLst>
            </p:cNvPr>
            <p:cNvSpPr/>
            <p:nvPr/>
          </p:nvSpPr>
          <p:spPr>
            <a:xfrm>
              <a:off x="971550" y="5869888"/>
              <a:ext cx="3875841" cy="54000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 defTabSz="1371600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Char char="•"/>
                <a:defRPr/>
              </a:pPr>
              <a:endParaRPr lang="en-IN" b="1" dirty="0"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64A1598-6201-D79A-C8F0-E01AB9912757}"/>
              </a:ext>
            </a:extLst>
          </p:cNvPr>
          <p:cNvGrpSpPr/>
          <p:nvPr/>
        </p:nvGrpSpPr>
        <p:grpSpPr>
          <a:xfrm>
            <a:off x="13564552" y="5707061"/>
            <a:ext cx="4009072" cy="2941637"/>
            <a:chOff x="971550" y="5869888"/>
            <a:chExt cx="3875841" cy="2551493"/>
          </a:xfrm>
        </p:grpSpPr>
        <p:sp>
          <p:nvSpPr>
            <p:cNvPr id="18" name="Google Shape;629;p29">
              <a:extLst>
                <a:ext uri="{FF2B5EF4-FFF2-40B4-BE49-F238E27FC236}">
                  <a16:creationId xmlns:a16="http://schemas.microsoft.com/office/drawing/2014/main" id="{3E6757AC-B700-5C7F-820B-C77E18289768}"/>
                </a:ext>
              </a:extLst>
            </p:cNvPr>
            <p:cNvSpPr/>
            <p:nvPr/>
          </p:nvSpPr>
          <p:spPr>
            <a:xfrm>
              <a:off x="971550" y="5869888"/>
              <a:ext cx="3875841" cy="2551493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Lorem Ipsum has been the industry's standard dummy text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</a:t>
              </a:r>
              <a:endParaRPr lang="en-IN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2" name="Google Shape;629;p29">
              <a:extLst>
                <a:ext uri="{FF2B5EF4-FFF2-40B4-BE49-F238E27FC236}">
                  <a16:creationId xmlns:a16="http://schemas.microsoft.com/office/drawing/2014/main" id="{C3098395-E4A0-D259-81EF-878D9CEA8A20}"/>
                </a:ext>
              </a:extLst>
            </p:cNvPr>
            <p:cNvSpPr/>
            <p:nvPr/>
          </p:nvSpPr>
          <p:spPr>
            <a:xfrm>
              <a:off x="971550" y="5869888"/>
              <a:ext cx="3875841" cy="54000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 defTabSz="1371600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Char char="•"/>
                <a:defRPr/>
              </a:pPr>
              <a:endParaRPr lang="en-IN" b="1" dirty="0"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A898BFD-3049-9696-0538-7E48655CA09E}"/>
              </a:ext>
            </a:extLst>
          </p:cNvPr>
          <p:cNvGrpSpPr/>
          <p:nvPr/>
        </p:nvGrpSpPr>
        <p:grpSpPr>
          <a:xfrm>
            <a:off x="9281160" y="5707061"/>
            <a:ext cx="4009072" cy="2941637"/>
            <a:chOff x="971550" y="5869888"/>
            <a:chExt cx="3875841" cy="2551493"/>
          </a:xfrm>
        </p:grpSpPr>
        <p:sp>
          <p:nvSpPr>
            <p:cNvPr id="30" name="Google Shape;629;p29">
              <a:extLst>
                <a:ext uri="{FF2B5EF4-FFF2-40B4-BE49-F238E27FC236}">
                  <a16:creationId xmlns:a16="http://schemas.microsoft.com/office/drawing/2014/main" id="{755B7AB4-DF13-DBAD-41DE-E87F73F90379}"/>
                </a:ext>
              </a:extLst>
            </p:cNvPr>
            <p:cNvSpPr/>
            <p:nvPr/>
          </p:nvSpPr>
          <p:spPr>
            <a:xfrm>
              <a:off x="971550" y="5869888"/>
              <a:ext cx="3875841" cy="2551493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Lorem Ipsum has been the industry's standard dummy text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 dummy text of the printing and typesetting industry. </a:t>
              </a:r>
            </a:p>
            <a:p>
              <a:pPr marL="230400" indent="-2304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  <a:defRPr/>
              </a:pPr>
              <a:r>
                <a:rPr lang="en-US" altLang="ko-KR" sz="16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rem Ipsum is simply</a:t>
              </a:r>
              <a:endParaRPr lang="en-IN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Google Shape;629;p29">
              <a:extLst>
                <a:ext uri="{FF2B5EF4-FFF2-40B4-BE49-F238E27FC236}">
                  <a16:creationId xmlns:a16="http://schemas.microsoft.com/office/drawing/2014/main" id="{EED9C348-FF7B-4969-DC4D-0640C4D0388B}"/>
                </a:ext>
              </a:extLst>
            </p:cNvPr>
            <p:cNvSpPr/>
            <p:nvPr/>
          </p:nvSpPr>
          <p:spPr>
            <a:xfrm>
              <a:off x="971550" y="5869888"/>
              <a:ext cx="3875841" cy="54000"/>
            </a:xfrm>
            <a:custGeom>
              <a:avLst/>
              <a:gdLst/>
              <a:ahLst/>
              <a:cxnLst/>
              <a:rect l="l" t="t" r="r" b="b"/>
              <a:pathLst>
                <a:path w="2859" h="2246" extrusionOk="0">
                  <a:moveTo>
                    <a:pt x="0" y="224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2858" y="2245"/>
                  </a:lnTo>
                  <a:lnTo>
                    <a:pt x="0" y="2245"/>
                  </a:lnTo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spcFirstLastPara="1" wrap="square" lIns="144000" tIns="252000" rIns="144000" bIns="144000" anchor="t" anchorCtr="0">
              <a:noAutofit/>
            </a:bodyPr>
            <a:lstStyle/>
            <a:p>
              <a:pPr marL="230400" indent="-230400" defTabSz="1371600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Char char="•"/>
                <a:defRPr/>
              </a:pPr>
              <a:endParaRPr lang="en-IN" b="1" dirty="0"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0CD8FA-3705-3F2C-0250-F56F52828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E8026D10-BDEB-05C2-7C00-802F937A78BC}"/>
              </a:ext>
            </a:extLst>
          </p:cNvPr>
          <p:cNvSpPr txBox="1">
            <a:spLocks/>
          </p:cNvSpPr>
          <p:nvPr/>
        </p:nvSpPr>
        <p:spPr>
          <a:xfrm>
            <a:off x="714375" y="1864702"/>
            <a:ext cx="40104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sz="1600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A8CE9AAA-481B-673F-A7D0-CA8098A55E86}"/>
              </a:ext>
            </a:extLst>
          </p:cNvPr>
          <p:cNvSpPr txBox="1">
            <a:spLocks/>
          </p:cNvSpPr>
          <p:nvPr/>
        </p:nvSpPr>
        <p:spPr>
          <a:xfrm>
            <a:off x="4997767" y="1864702"/>
            <a:ext cx="40104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sz="1600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11171505-0907-49FE-1D08-C0699E05C9A4}"/>
              </a:ext>
            </a:extLst>
          </p:cNvPr>
          <p:cNvSpPr txBox="1">
            <a:spLocks/>
          </p:cNvSpPr>
          <p:nvPr/>
        </p:nvSpPr>
        <p:spPr>
          <a:xfrm>
            <a:off x="9281160" y="1864702"/>
            <a:ext cx="40104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sz="1600" b="1" dirty="0">
                <a:solidFill>
                  <a:schemeClr val="accent1"/>
                </a:solidFill>
              </a:rPr>
              <a:t>Chart Title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E978F2FB-88FF-492D-251C-2337066AB539}"/>
              </a:ext>
            </a:extLst>
          </p:cNvPr>
          <p:cNvSpPr txBox="1">
            <a:spLocks/>
          </p:cNvSpPr>
          <p:nvPr/>
        </p:nvSpPr>
        <p:spPr>
          <a:xfrm>
            <a:off x="13564552" y="1864702"/>
            <a:ext cx="40104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sz="1600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792113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8</TotalTime>
  <Words>169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olumn Charts with Descrip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67</cp:revision>
  <dcterms:created xsi:type="dcterms:W3CDTF">2006-08-16T00:00:00Z</dcterms:created>
  <dcterms:modified xsi:type="dcterms:W3CDTF">2025-10-06T09:53:40Z</dcterms:modified>
  <cp:category/>
  <dc:identifier>DAGkDf5R9EM</dc:identifier>
</cp:coreProperties>
</file>